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0" r:id="rId2"/>
    <p:sldId id="285" r:id="rId3"/>
    <p:sldId id="282" r:id="rId4"/>
    <p:sldId id="286" r:id="rId5"/>
    <p:sldId id="287" r:id="rId6"/>
    <p:sldId id="288" r:id="rId7"/>
    <p:sldId id="258" r:id="rId8"/>
  </p:sldIdLst>
  <p:sldSz cx="9144000" cy="6858000" type="screen4x3"/>
  <p:notesSz cx="6985000" cy="92837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190" d="100"/>
          <a:sy n="190" d="100"/>
        </p:scale>
        <p:origin x="-1848" y="-89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9/19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9/09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363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703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4184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19/09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yAllHillShadedWaterfall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Development Notes, August 2016</a:t>
            </a:r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996952"/>
            <a:ext cx="8728364" cy="196412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710 Sample: 0003_20110822_092831_Vector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69478">
            <a:off x="2470413" y="-2770306"/>
            <a:ext cx="3605901" cy="934871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7504" y="5241974"/>
            <a:ext cx="7507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 smtClean="0"/>
              <a:t>Confirm the –r (rotate) option runs left to right</a:t>
            </a:r>
          </a:p>
          <a:p>
            <a:r>
              <a:rPr lang="en-AU" dirty="0" smtClean="0"/>
              <a:t>Auto stretch in across track axis to approximate real world pixel isometry</a:t>
            </a:r>
            <a:endParaRPr lang="en-AU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7539724" y="969708"/>
            <a:ext cx="1440160" cy="921208"/>
          </a:xfrm>
          <a:prstGeom prst="wedgeRoundRectCallout">
            <a:avLst>
              <a:gd name="adj1" fmla="val -67924"/>
              <a:gd name="adj2" fmla="val 294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/>
              <a:t>Conventional processed file with </a:t>
            </a:r>
            <a:r>
              <a:rPr lang="en-AU" sz="1400" dirty="0" err="1" smtClean="0"/>
              <a:t>lastools</a:t>
            </a:r>
            <a:r>
              <a:rPr lang="en-AU" sz="1400" dirty="0" smtClean="0"/>
              <a:t> </a:t>
            </a:r>
            <a:r>
              <a:rPr lang="en-AU" sz="1400" dirty="0" err="1" smtClean="0"/>
              <a:t>hillshading</a:t>
            </a:r>
            <a:endParaRPr lang="en-AU" sz="1400" dirty="0"/>
          </a:p>
        </p:txBody>
      </p:sp>
      <p:sp>
        <p:nvSpPr>
          <p:cNvPr id="15" name="Rounded Rectangular Callout 14"/>
          <p:cNvSpPr/>
          <p:nvPr/>
        </p:nvSpPr>
        <p:spPr>
          <a:xfrm>
            <a:off x="7524328" y="3083856"/>
            <a:ext cx="1440160" cy="921208"/>
          </a:xfrm>
          <a:prstGeom prst="wedgeRoundRectCallout">
            <a:avLst>
              <a:gd name="adj1" fmla="val -67924"/>
              <a:gd name="adj2" fmla="val 294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/>
              <a:t>Python waterfall </a:t>
            </a:r>
            <a:r>
              <a:rPr lang="en-AU" sz="1400" dirty="0" err="1" smtClean="0"/>
              <a:t>hillshading</a:t>
            </a:r>
            <a:r>
              <a:rPr lang="en-AU" sz="1400" dirty="0" smtClean="0"/>
              <a:t> with </a:t>
            </a:r>
            <a:r>
              <a:rPr lang="en-AU" sz="1400" dirty="0" err="1" smtClean="0"/>
              <a:t>jeca</a:t>
            </a:r>
            <a:r>
              <a:rPr lang="en-AU" sz="1400" dirty="0" smtClean="0"/>
              <a:t> depth palette 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2000-0005-vsm3_15-20151123-023334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79072">
            <a:off x="4003516" y="-2825736"/>
            <a:ext cx="1136969" cy="82981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7" y="1958452"/>
            <a:ext cx="8312727" cy="8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2000-0005-vsm3_15-20151123-023334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79072">
            <a:off x="-5772501" y="-10900214"/>
            <a:ext cx="3568299" cy="2604324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2408" y="3782304"/>
            <a:ext cx="26088898" cy="26124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706759" y="-1612705"/>
            <a:ext cx="2950719" cy="770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357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:/development/python/0004_20110307_041009.all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0728"/>
            <a:ext cx="9144000" cy="547112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6804248" y="1484784"/>
            <a:ext cx="2304256" cy="443068"/>
          </a:xfrm>
          <a:prstGeom prst="wedgeRoundRectCallout">
            <a:avLst>
              <a:gd name="adj1" fmla="val -167498"/>
              <a:gd name="adj2" fmla="val -8237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Jeca</a:t>
            </a:r>
            <a:r>
              <a:rPr lang="en-US" sz="1400" dirty="0" smtClean="0"/>
              <a:t> 64 Colors. Note contouring at color boundaries Bad!</a:t>
            </a:r>
            <a:endParaRPr lang="en-AU" sz="14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00392" y="2564904"/>
            <a:ext cx="1043608" cy="443068"/>
          </a:xfrm>
          <a:prstGeom prst="wedgeRoundRectCallout">
            <a:avLst>
              <a:gd name="adj1" fmla="val -94849"/>
              <a:gd name="adj2" fmla="val -7485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err="1" smtClean="0"/>
              <a:t>Jeca</a:t>
            </a:r>
            <a:r>
              <a:rPr lang="en-AU" sz="1400" dirty="0" smtClean="0"/>
              <a:t> 256 </a:t>
            </a:r>
            <a:r>
              <a:rPr lang="en-AU" sz="1400" dirty="0" err="1" smtClean="0"/>
              <a:t>Colors</a:t>
            </a:r>
            <a:endParaRPr lang="en-AU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19156"/>
            <a:ext cx="9144000" cy="54574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65573"/>
            <a:ext cx="9144000" cy="32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028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6804248" y="1484784"/>
            <a:ext cx="2304256" cy="443068"/>
          </a:xfrm>
          <a:prstGeom prst="wedgeRoundRectCallout">
            <a:avLst>
              <a:gd name="adj1" fmla="val -167498"/>
              <a:gd name="adj2" fmla="val -8237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Jeca</a:t>
            </a:r>
            <a:r>
              <a:rPr lang="en-US" sz="1400" dirty="0" smtClean="0"/>
              <a:t> 64 Colors. Note contouring at color boundaries Bad!</a:t>
            </a:r>
            <a:endParaRPr lang="en-AU" sz="14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00392" y="2564904"/>
            <a:ext cx="1043608" cy="443068"/>
          </a:xfrm>
          <a:prstGeom prst="wedgeRoundRectCallout">
            <a:avLst>
              <a:gd name="adj1" fmla="val -94849"/>
              <a:gd name="adj2" fmla="val -7485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err="1" smtClean="0"/>
              <a:t>Jeca</a:t>
            </a:r>
            <a:r>
              <a:rPr lang="en-AU" sz="1400" dirty="0" smtClean="0"/>
              <a:t> 256 </a:t>
            </a:r>
            <a:r>
              <a:rPr lang="en-AU" sz="1400" dirty="0" err="1" smtClean="0"/>
              <a:t>Colors</a:t>
            </a:r>
            <a:endParaRPr lang="en-AU" sz="1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4"/>
            <a:ext cx="9144000" cy="202218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1194"/>
            <a:ext cx="9144000" cy="202218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392046">
            <a:off x="192568" y="745963"/>
            <a:ext cx="9144001" cy="588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240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442</TotalTime>
  <Words>87</Words>
  <Application>Microsoft Office PowerPoint</Application>
  <PresentationFormat>On-screen Show (4:3)</PresentationFormat>
  <Paragraphs>21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Blank</vt:lpstr>
      <vt:lpstr>think-cell Slide</vt:lpstr>
      <vt:lpstr>pyAllHillShadedWaterfall</vt:lpstr>
      <vt:lpstr>EM710 Sample: 0003_20110822_092831_Vector.all</vt:lpstr>
      <vt:lpstr>em2000-0005-vsm3_15-20151123-023334.all</vt:lpstr>
      <vt:lpstr>em2000-0005-vsm3_15-20151123-023334.all</vt:lpstr>
      <vt:lpstr>C:/development/python/0004_20110307_041009.all</vt:lpstr>
      <vt:lpstr>PowerPoint Presentation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48</cp:revision>
  <cp:lastPrinted>2014-07-03T06:58:13Z</cp:lastPrinted>
  <dcterms:created xsi:type="dcterms:W3CDTF">2016-06-19T03:12:04Z</dcterms:created>
  <dcterms:modified xsi:type="dcterms:W3CDTF">2016-09-19T15:07:44Z</dcterms:modified>
</cp:coreProperties>
</file>